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1947" r:id="rId2"/>
    <p:sldId id="1955" r:id="rId3"/>
    <p:sldId id="1987" r:id="rId4"/>
    <p:sldId id="1949" r:id="rId5"/>
    <p:sldId id="1988" r:id="rId6"/>
    <p:sldId id="1950" r:id="rId7"/>
    <p:sldId id="1957" r:id="rId8"/>
    <p:sldId id="1958" r:id="rId9"/>
    <p:sldId id="1962" r:id="rId10"/>
    <p:sldId id="1993" r:id="rId11"/>
    <p:sldId id="1989" r:id="rId12"/>
    <p:sldId id="1975" r:id="rId13"/>
    <p:sldId id="1976" r:id="rId14"/>
    <p:sldId id="1977" r:id="rId15"/>
    <p:sldId id="1978" r:id="rId16"/>
    <p:sldId id="1980" r:id="rId17"/>
    <p:sldId id="1981" r:id="rId18"/>
    <p:sldId id="1982" r:id="rId19"/>
    <p:sldId id="1990" r:id="rId20"/>
    <p:sldId id="1951" r:id="rId21"/>
    <p:sldId id="1991" r:id="rId22"/>
    <p:sldId id="1965" r:id="rId23"/>
    <p:sldId id="1974" r:id="rId24"/>
    <p:sldId id="1963" r:id="rId25"/>
    <p:sldId id="1966" r:id="rId26"/>
    <p:sldId id="1964" r:id="rId27"/>
    <p:sldId id="1967" r:id="rId28"/>
    <p:sldId id="1968" r:id="rId29"/>
    <p:sldId id="1969" r:id="rId30"/>
    <p:sldId id="1970" r:id="rId31"/>
    <p:sldId id="1971" r:id="rId32"/>
    <p:sldId id="1972" r:id="rId33"/>
    <p:sldId id="1973" r:id="rId34"/>
    <p:sldId id="1992" r:id="rId35"/>
    <p:sldId id="1959" r:id="rId36"/>
    <p:sldId id="1961" r:id="rId37"/>
    <p:sldId id="1983" r:id="rId38"/>
    <p:sldId id="1984" r:id="rId39"/>
    <p:sldId id="1986" r:id="rId40"/>
    <p:sldId id="1956" r:id="rId41"/>
  </p:sldIdLst>
  <p:sldSz cx="9144000" cy="6858000" type="screen4x3"/>
  <p:notesSz cx="6858000" cy="9661525"/>
  <p:custShowLst>
    <p:custShow name="Mustermann1" id="0">
      <p:sldLst/>
    </p:custShow>
  </p:custShowLst>
  <p:custDataLst>
    <p:tags r:id="rId44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51" d="100"/>
          <a:sy n="151" d="100"/>
        </p:scale>
        <p:origin x="1992" y="15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 dirty="0"/>
            <a:t>Web-</a:t>
          </a:r>
          <a:r>
            <a:rPr lang="de-DE" dirty="0" err="1"/>
            <a:t>Scraping</a:t>
          </a:r>
          <a:endParaRPr lang="de-DE" dirty="0"/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 dirty="0"/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/>
      <dgm:t>
        <a:bodyPr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/>
      <dgm:spPr/>
      <dgm:t>
        <a:bodyPr/>
        <a:lstStyle/>
        <a:p>
          <a:r>
            <a:rPr lang="de-DE" dirty="0"/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 dirty="0"/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/>
      <dgm:spPr>
        <a:solidFill>
          <a:srgbClr val="005EAD">
            <a:shade val="80000"/>
            <a:hueOff val="662697"/>
            <a:satOff val="-53098"/>
            <a:lumOff val="30552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95250" tIns="47625" rIns="95250" bIns="47625" numCol="1" spcCol="1270" anchor="ctr" anchorCtr="0"/>
        <a:lstStyle/>
        <a:p>
          <a:r>
            <a:rPr lang="de-DE" dirty="0"/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>
        <a:solidFill>
          <a:schemeClr val="accent1"/>
        </a:solidFill>
      </dgm:spPr>
      <dgm:t>
        <a:bodyPr/>
        <a:lstStyle/>
        <a:p>
          <a:r>
            <a:rPr lang="de-DE" dirty="0"/>
            <a:t>Web-</a:t>
          </a:r>
          <a:r>
            <a:rPr lang="de-DE" dirty="0" err="1"/>
            <a:t>Scraping</a:t>
          </a:r>
          <a:endParaRPr lang="de-DE" dirty="0"/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1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005EAD">
            <a:shade val="80000"/>
            <a:hueOff val="165674"/>
            <a:satOff val="-13274"/>
            <a:lumOff val="7638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>
        <a:xfrm>
          <a:off x="2580479" y="1521944"/>
          <a:ext cx="2903039" cy="724143"/>
        </a:xfrm>
        <a:prstGeom prst="roundRect">
          <a:avLst/>
        </a:prstGeom>
      </dgm:spPr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7374C554-11B3-48EB-9740-621AA1D8993C}" type="pres">
      <dgm:prSet presAssocID="{264BE61B-92A3-4AD0-8A98-24C10B153985}" presName="rootConnector" presStyleLbl="node2" presStyleIdx="6" presStyleCnt="7"/>
      <dgm:spPr/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AF1D52-1CBA-4261-8857-2FE1CDE40C0E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500" kern="1200" dirty="0"/>
            <a:t> 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dirty="0"/>
            <a:t>Ergebnisse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EEFEC00-51F1-4F69-82E5-C020B6BC6C91}">
      <dgm:prSet/>
      <dgm:spPr/>
      <dgm:t>
        <a:bodyPr/>
        <a:lstStyle/>
        <a:p>
          <a:r>
            <a:rPr lang="de-DE" dirty="0"/>
            <a:t>Datenexploration</a:t>
          </a:r>
        </a:p>
      </dgm:t>
    </dgm:pt>
    <dgm:pt modelId="{86C03777-4006-4246-B678-7D392EABC1C8}" type="parTrans" cxnId="{29FDA0C2-6AED-452D-9A16-E98E0A2C23C4}">
      <dgm:prSet/>
      <dgm:spPr/>
      <dgm:t>
        <a:bodyPr/>
        <a:lstStyle/>
        <a:p>
          <a:endParaRPr lang="de-DE"/>
        </a:p>
      </dgm:t>
    </dgm:pt>
    <dgm:pt modelId="{7262FC55-521F-43B0-A51C-5ACE7AAC9C1A}" type="sibTrans" cxnId="{29FDA0C2-6AED-452D-9A16-E98E0A2C23C4}">
      <dgm:prSet/>
      <dgm:spPr/>
      <dgm:t>
        <a:bodyPr/>
        <a:lstStyle/>
        <a:p>
          <a:endParaRPr lang="de-DE"/>
        </a:p>
      </dgm:t>
    </dgm:pt>
    <dgm:pt modelId="{0ADDEEAC-BD5D-44FF-879C-7C281B93C566}">
      <dgm:prSet custT="1"/>
      <dgm:spPr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40005" rIns="80010" bIns="40005" numCol="1" spcCol="1270" anchor="ctr" anchorCtr="0"/>
        <a:lstStyle/>
        <a:p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gm:t>
    </dgm:pt>
    <dgm:pt modelId="{FC9F2640-0957-406C-A522-E5A85A2CE41B}" type="parTrans" cxnId="{CC757D2F-65BF-40C0-8779-0DD855BA10D6}">
      <dgm:prSet/>
      <dgm:spPr/>
      <dgm:t>
        <a:bodyPr/>
        <a:lstStyle/>
        <a:p>
          <a:endParaRPr lang="de-DE"/>
        </a:p>
      </dgm:t>
    </dgm:pt>
    <dgm:pt modelId="{3A3E634D-A12E-41E1-8A63-A23E3FDBE071}" type="sibTrans" cxnId="{CC757D2F-65BF-40C0-8779-0DD855BA10D6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6">
        <dgm:presLayoutVars>
          <dgm:chMax val="1"/>
          <dgm:bulletEnabled val="1"/>
        </dgm:presLayoutVars>
      </dgm:prSet>
      <dgm:spPr>
        <a:xfrm>
          <a:off x="2580479" y="1243"/>
          <a:ext cx="2903039" cy="724143"/>
        </a:xfrm>
        <a:prstGeom prst="roundRect">
          <a:avLst/>
        </a:prstGeom>
      </dgm:spPr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6">
        <dgm:presLayoutVars>
          <dgm:chMax val="1"/>
          <dgm:bulletEnabled val="1"/>
        </dgm:presLayoutVars>
      </dgm:prSet>
      <dgm:spPr>
        <a:xfrm>
          <a:off x="2580479" y="761594"/>
          <a:ext cx="2903039" cy="724143"/>
        </a:xfrm>
        <a:prstGeom prst="roundRect">
          <a:avLst/>
        </a:prstGeom>
      </dgm:spPr>
    </dgm:pt>
    <dgm:pt modelId="{E54D9F91-E2A7-4A04-9D96-C91B504B83C3}" type="pres">
      <dgm:prSet presAssocID="{0E9BB6C0-A5E1-4A13-8553-6ADD424A818B}" presName="sp" presStyleCnt="0"/>
      <dgm:spPr/>
    </dgm:pt>
    <dgm:pt modelId="{DB7CE38F-E959-40DA-B1B2-E8219813D448}" type="pres">
      <dgm:prSet presAssocID="{7EEFEC00-51F1-4F69-82E5-C020B6BC6C91}" presName="linNode" presStyleCnt="0"/>
      <dgm:spPr/>
    </dgm:pt>
    <dgm:pt modelId="{6645DF4F-9D58-4608-9FD5-3C518392D58C}" type="pres">
      <dgm:prSet presAssocID="{7EEFEC00-51F1-4F69-82E5-C020B6BC6C91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F1431361-E2B9-4436-94C8-82851821D545}" type="pres">
      <dgm:prSet presAssocID="{7262FC55-521F-43B0-A51C-5ACE7AAC9C1A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3" presStyleCnt="6">
        <dgm:presLayoutVars>
          <dgm:chMax val="1"/>
          <dgm:bulletEnabled val="1"/>
        </dgm:presLayoutVars>
      </dgm:prSet>
      <dgm:spPr>
        <a:xfrm>
          <a:off x="2580479" y="2282294"/>
          <a:ext cx="2903039" cy="724143"/>
        </a:xfrm>
        <a:prstGeom prst="roundRect">
          <a:avLst/>
        </a:prstGeom>
      </dgm:spPr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4" presStyleCnt="6">
        <dgm:presLayoutVars>
          <dgm:chMax val="1"/>
          <dgm:bulletEnabled val="1"/>
        </dgm:presLayoutVars>
      </dgm:prSet>
      <dgm:spPr>
        <a:xfrm>
          <a:off x="2580479" y="3042644"/>
          <a:ext cx="2903039" cy="724143"/>
        </a:xfrm>
        <a:prstGeom prst="roundRect">
          <a:avLst/>
        </a:prstGeom>
      </dgm:spPr>
    </dgm:pt>
    <dgm:pt modelId="{EE74CD1F-F9A8-4241-97B2-E6158B8F91A8}" type="pres">
      <dgm:prSet presAssocID="{EE086FA0-5E66-46A4-B46A-4F81A7CCE1ED}" presName="sp" presStyleCnt="0"/>
      <dgm:spPr/>
    </dgm:pt>
    <dgm:pt modelId="{41B106A2-B0B4-4AF3-B95C-C3AF637086C1}" type="pres">
      <dgm:prSet presAssocID="{0ADDEEAC-BD5D-44FF-879C-7C281B93C566}" presName="linNode" presStyleCnt="0"/>
      <dgm:spPr/>
    </dgm:pt>
    <dgm:pt modelId="{48DBBF86-82BE-4EAC-B280-91937A8C020C}" type="pres">
      <dgm:prSet presAssocID="{0ADDEEAC-BD5D-44FF-879C-7C281B93C566}" presName="parentText" presStyleLbl="node1" presStyleIdx="5" presStyleCnt="6">
        <dgm:presLayoutVars>
          <dgm:chMax val="1"/>
          <dgm:bulletEnabled val="1"/>
        </dgm:presLayoutVars>
      </dgm:prSet>
      <dgm:spPr>
        <a:xfrm>
          <a:off x="2580479" y="3802995"/>
          <a:ext cx="2903039" cy="724143"/>
        </a:xfrm>
        <a:prstGeom prst="roundRect">
          <a:avLst/>
        </a:prstGeom>
      </dgm:spPr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4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CC757D2F-65BF-40C0-8779-0DD855BA10D6}" srcId="{F0BC96FD-B857-44A7-964A-652F6B60A596}" destId="{0ADDEEAC-BD5D-44FF-879C-7C281B93C566}" srcOrd="5" destOrd="0" parTransId="{FC9F2640-0957-406C-A522-E5A85A2CE41B}" sibTransId="{3A3E634D-A12E-41E1-8A63-A23E3FDBE071}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3" destOrd="0" parTransId="{DA7A3FDC-64BB-4C7F-8412-100C83FF2AE6}" sibTransId="{15A03D51-020B-460E-A388-564AA11F07DC}"/>
    <dgm:cxn modelId="{76C94B8D-C9D2-4C17-8ED2-C856A0A2E52F}" type="presOf" srcId="{0ADDEEAC-BD5D-44FF-879C-7C281B93C566}" destId="{48DBBF86-82BE-4EAC-B280-91937A8C020C}" srcOrd="0" destOrd="0" presId="urn:microsoft.com/office/officeart/2005/8/layout/vList5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29FDA0C2-6AED-452D-9A16-E98E0A2C23C4}" srcId="{F0BC96FD-B857-44A7-964A-652F6B60A596}" destId="{7EEFEC00-51F1-4F69-82E5-C020B6BC6C91}" srcOrd="2" destOrd="0" parTransId="{86C03777-4006-4246-B678-7D392EABC1C8}" sibTransId="{7262FC55-521F-43B0-A51C-5ACE7AAC9C1A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5CA536EC-C7DA-4C2F-B5FA-FA0D0BA62468}" type="presOf" srcId="{7EEFEC00-51F1-4F69-82E5-C020B6BC6C91}" destId="{6645DF4F-9D58-4608-9FD5-3C518392D58C}" srcOrd="0" destOrd="0" presId="urn:microsoft.com/office/officeart/2005/8/layout/vList5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B410C840-7A4C-4DB3-A3B2-B6F17C0CFE91}" type="presParOf" srcId="{7FCE9753-5206-4184-BE9F-0983E11CDEF6}" destId="{DB7CE38F-E959-40DA-B1B2-E8219813D448}" srcOrd="4" destOrd="0" presId="urn:microsoft.com/office/officeart/2005/8/layout/vList5"/>
    <dgm:cxn modelId="{27AF17D6-A6E8-4CFB-9367-304F1299F7C0}" type="presParOf" srcId="{DB7CE38F-E959-40DA-B1B2-E8219813D448}" destId="{6645DF4F-9D58-4608-9FD5-3C518392D58C}" srcOrd="0" destOrd="0" presId="urn:microsoft.com/office/officeart/2005/8/layout/vList5"/>
    <dgm:cxn modelId="{F139A132-B37F-44AF-A239-D9C33755187D}" type="presParOf" srcId="{7FCE9753-5206-4184-BE9F-0983E11CDEF6}" destId="{F1431361-E2B9-4436-94C8-82851821D545}" srcOrd="5" destOrd="0" presId="urn:microsoft.com/office/officeart/2005/8/layout/vList5"/>
    <dgm:cxn modelId="{00DD597C-B5A2-4B60-8D16-FDCB35CE3C5B}" type="presParOf" srcId="{7FCE9753-5206-4184-BE9F-0983E11CDEF6}" destId="{17680008-BAD6-40AA-AF07-9643C565B265}" srcOrd="6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7" destOrd="0" presId="urn:microsoft.com/office/officeart/2005/8/layout/vList5"/>
    <dgm:cxn modelId="{C30BAB44-2437-43A9-AF70-EF4BA154BB63}" type="presParOf" srcId="{7FCE9753-5206-4184-BE9F-0983E11CDEF6}" destId="{F873983D-9A8A-471F-9EDE-D6EC5D7A3863}" srcOrd="8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  <dgm:cxn modelId="{306CA934-DC03-46D0-AD7B-736A6BE1F1C4}" type="presParOf" srcId="{7FCE9753-5206-4184-BE9F-0983E11CDEF6}" destId="{EE74CD1F-F9A8-4241-97B2-E6158B8F91A8}" srcOrd="9" destOrd="0" presId="urn:microsoft.com/office/officeart/2005/8/layout/vList5"/>
    <dgm:cxn modelId="{153253ED-6CE7-4C2B-BD1A-6C8F2FED39C1}" type="presParOf" srcId="{7FCE9753-5206-4184-BE9F-0983E11CDEF6}" destId="{41B106A2-B0B4-4AF3-B95C-C3AF637086C1}" srcOrd="10" destOrd="0" presId="urn:microsoft.com/office/officeart/2005/8/layout/vList5"/>
    <dgm:cxn modelId="{13C24DB1-1373-422E-BFAE-7BCA227AF563}" type="presParOf" srcId="{41B106A2-B0B4-4AF3-B95C-C3AF637086C1}" destId="{48DBBF86-82BE-4EAC-B280-91937A8C02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chemeClr val="accent2">
            <a:shade val="80000"/>
            <a:hueOff val="165674"/>
            <a:satOff val="-13274"/>
            <a:lumOff val="76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Web-</a:t>
          </a:r>
          <a:r>
            <a:rPr lang="de-DE" sz="2100" kern="1200" dirty="0" err="1"/>
            <a:t>Scraping</a:t>
          </a:r>
          <a:endParaRPr lang="de-DE" sz="2100" kern="1200" dirty="0"/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chemeClr val="accent2">
            <a:shade val="80000"/>
            <a:hueOff val="331348"/>
            <a:satOff val="-26549"/>
            <a:lumOff val="152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chemeClr val="accent2">
            <a:shade val="80000"/>
            <a:hueOff val="497023"/>
            <a:satOff val="-39823"/>
            <a:lumOff val="229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chemeClr val="accent2">
            <a:shade val="80000"/>
            <a:hueOff val="662697"/>
            <a:satOff val="-53098"/>
            <a:lumOff val="305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chemeClr val="accent2">
            <a:shade val="80000"/>
            <a:hueOff val="497023"/>
            <a:satOff val="-39823"/>
            <a:lumOff val="229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/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chemeClr val="accent2">
            <a:shade val="80000"/>
            <a:hueOff val="662697"/>
            <a:satOff val="-53098"/>
            <a:lumOff val="305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005EAD">
            <a:shade val="80000"/>
            <a:hueOff val="662697"/>
            <a:satOff val="-53098"/>
            <a:lumOff val="30552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700" kern="1200" dirty="0"/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Web-</a:t>
          </a:r>
          <a:r>
            <a:rPr lang="de-DE" sz="2100" kern="1200" dirty="0" err="1"/>
            <a:t>Scraping</a:t>
          </a:r>
          <a:endParaRPr lang="de-DE" sz="2100" kern="1200" dirty="0"/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1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005EAD">
            <a:shade val="80000"/>
            <a:hueOff val="165674"/>
            <a:satOff val="-13274"/>
            <a:lumOff val="7638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7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1243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Überblick Transfermarkt</a:t>
          </a:r>
        </a:p>
      </dsp:txBody>
      <dsp:txXfrm>
        <a:off x="2615829" y="36593"/>
        <a:ext cx="2832339" cy="653443"/>
      </dsp:txXfrm>
    </dsp:sp>
    <dsp:sp modelId="{95715669-8423-43AC-AAE0-14D3390F5CFC}">
      <dsp:nvSpPr>
        <dsp:cNvPr id="0" name=""/>
        <dsp:cNvSpPr/>
      </dsp:nvSpPr>
      <dsp:spPr>
        <a:xfrm>
          <a:off x="2580479" y="7615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Web-</a:t>
          </a:r>
          <a:r>
            <a:rPr lang="de-DE" sz="2100" kern="1200" dirty="0" err="1">
              <a:solidFill>
                <a:srgbClr val="FFFFFF"/>
              </a:solidFill>
              <a:latin typeface="Arial"/>
              <a:ea typeface="ＭＳ Ｐゴシック"/>
              <a:cs typeface="+mn-cs"/>
            </a:rPr>
            <a:t>Scraping</a:t>
          </a:r>
          <a:endParaRPr lang="de-DE" sz="2100" kern="1200" dirty="0">
            <a:solidFill>
              <a:srgbClr val="FFFFFF"/>
            </a:solidFill>
            <a:latin typeface="Arial"/>
            <a:ea typeface="ＭＳ Ｐゴシック"/>
            <a:cs typeface="+mn-cs"/>
          </a:endParaRPr>
        </a:p>
      </dsp:txBody>
      <dsp:txXfrm>
        <a:off x="2615829" y="796944"/>
        <a:ext cx="2832339" cy="653443"/>
      </dsp:txXfrm>
    </dsp:sp>
    <dsp:sp modelId="{6645DF4F-9D58-4608-9FD5-3C518392D58C}">
      <dsp:nvSpPr>
        <dsp:cNvPr id="0" name=""/>
        <dsp:cNvSpPr/>
      </dsp:nvSpPr>
      <dsp:spPr>
        <a:xfrm>
          <a:off x="2580479" y="1521944"/>
          <a:ext cx="2903039" cy="724143"/>
        </a:xfrm>
        <a:prstGeom prst="roundRect">
          <a:avLst/>
        </a:prstGeom>
        <a:solidFill>
          <a:schemeClr val="accent2">
            <a:shade val="80000"/>
            <a:hueOff val="331348"/>
            <a:satOff val="-26549"/>
            <a:lumOff val="152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exploration</a:t>
          </a:r>
        </a:p>
      </dsp:txBody>
      <dsp:txXfrm>
        <a:off x="2615829" y="1557294"/>
        <a:ext cx="2832339" cy="653443"/>
      </dsp:txXfrm>
    </dsp:sp>
    <dsp:sp modelId="{D3876921-7BEB-4E83-B399-BA9C72B8EBB3}">
      <dsp:nvSpPr>
        <dsp:cNvPr id="0" name=""/>
        <dsp:cNvSpPr/>
      </dsp:nvSpPr>
      <dsp:spPr>
        <a:xfrm>
          <a:off x="2580479" y="228229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Benchmarking</a:t>
          </a:r>
          <a:r>
            <a:rPr lang="de-DE" sz="2500" kern="1200" dirty="0"/>
            <a:t> </a:t>
          </a:r>
        </a:p>
      </dsp:txBody>
      <dsp:txXfrm>
        <a:off x="2615829" y="2317644"/>
        <a:ext cx="2832339" cy="653443"/>
      </dsp:txXfrm>
    </dsp:sp>
    <dsp:sp modelId="{ECDB91A6-652D-454F-B65A-30749F0E0B14}">
      <dsp:nvSpPr>
        <dsp:cNvPr id="0" name=""/>
        <dsp:cNvSpPr/>
      </dsp:nvSpPr>
      <dsp:spPr>
        <a:xfrm>
          <a:off x="2580479" y="3042644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</a:p>
      </dsp:txBody>
      <dsp:txXfrm>
        <a:off x="2615829" y="3077994"/>
        <a:ext cx="2832339" cy="653443"/>
      </dsp:txXfrm>
    </dsp:sp>
    <dsp:sp modelId="{48DBBF86-82BE-4EAC-B280-91937A8C020C}">
      <dsp:nvSpPr>
        <dsp:cNvPr id="0" name=""/>
        <dsp:cNvSpPr/>
      </dsp:nvSpPr>
      <dsp:spPr>
        <a:xfrm>
          <a:off x="2580479" y="3802995"/>
          <a:ext cx="2903039" cy="724143"/>
        </a:xfrm>
        <a:prstGeom prst="roundRect">
          <a:avLst/>
        </a:prstGeom>
        <a:solidFill>
          <a:srgbClr val="C0C0C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>
              <a:solidFill>
                <a:srgbClr val="FFFFFF"/>
              </a:solidFill>
              <a:latin typeface="Arial"/>
              <a:ea typeface="ＭＳ Ｐゴシック"/>
              <a:cs typeface="+mn-cs"/>
            </a:rPr>
            <a:t>Hypothesentest</a:t>
          </a:r>
        </a:p>
      </dsp:txBody>
      <dsp:txXfrm>
        <a:off x="2615829" y="3838345"/>
        <a:ext cx="2832339" cy="6534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5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9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8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tter Daten </a:t>
            </a:r>
            <a:r>
              <a:rPr lang="de-DE" dirty="0" err="1"/>
              <a:t>Missing</a:t>
            </a:r>
            <a:r>
              <a:rPr lang="de-DE" dirty="0"/>
              <a:t> Valu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DAAA44-A1CC-9315-06EF-73E29C9C26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09" y="1210902"/>
            <a:ext cx="6113682" cy="48856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9309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665171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exploration</a:t>
            </a:r>
          </a:p>
        </p:txBody>
      </p:sp>
    </p:spTree>
    <p:extLst>
      <p:ext uri="{BB962C8B-B14F-4D97-AF65-F5344CB8AC3E}">
        <p14:creationId xmlns:p14="http://schemas.microsoft.com/office/powerpoint/2010/main" val="3162568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7038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714465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892605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00" y="16491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3C35452-BED0-9D27-6B8C-775BE09215FB}"/>
              </a:ext>
            </a:extLst>
          </p:cNvPr>
          <p:cNvSpPr txBox="1"/>
          <p:nvPr/>
        </p:nvSpPr>
        <p:spPr>
          <a:xfrm>
            <a:off x="6153150" y="1835150"/>
            <a:ext cx="431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800" dirty="0">
                <a:solidFill>
                  <a:schemeClr val="tx1"/>
                </a:solidFill>
              </a:rPr>
              <a:t>Metriken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	    50.6 %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Balance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    43.7 %</a:t>
            </a:r>
          </a:p>
          <a:p>
            <a:pPr algn="just"/>
            <a:endParaRPr lang="de-DE" sz="1200" dirty="0">
              <a:solidFill>
                <a:schemeClr val="tx1"/>
              </a:solidFill>
            </a:endParaRP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Heimsieg:	    75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Auswärtssieg:	    51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Unentschieden:     5 %</a:t>
            </a:r>
          </a:p>
        </p:txBody>
      </p:sp>
    </p:spTree>
    <p:extLst>
      <p:ext uri="{BB962C8B-B14F-4D97-AF65-F5344CB8AC3E}">
        <p14:creationId xmlns:p14="http://schemas.microsoft.com/office/powerpoint/2010/main" val="31837540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00" y="1556402"/>
            <a:ext cx="5579832" cy="433832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0700893-3772-1567-2C43-36AF499C7451}"/>
              </a:ext>
            </a:extLst>
          </p:cNvPr>
          <p:cNvSpPr txBox="1"/>
          <p:nvPr/>
        </p:nvSpPr>
        <p:spPr>
          <a:xfrm>
            <a:off x="6153150" y="1835150"/>
            <a:ext cx="431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800" dirty="0">
                <a:solidFill>
                  <a:schemeClr val="tx1"/>
                </a:solidFill>
              </a:rPr>
              <a:t>Metriken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	    68,7 %</a:t>
            </a:r>
          </a:p>
          <a:p>
            <a:pPr algn="just"/>
            <a:r>
              <a:rPr lang="de-DE" sz="1200" dirty="0" err="1">
                <a:solidFill>
                  <a:schemeClr val="tx1"/>
                </a:solidFill>
              </a:rPr>
              <a:t>Balance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Accuracy</a:t>
            </a:r>
            <a:r>
              <a:rPr lang="de-DE" sz="1200" dirty="0">
                <a:solidFill>
                  <a:schemeClr val="tx1"/>
                </a:solidFill>
              </a:rPr>
              <a:t>: 	    52,9 %</a:t>
            </a:r>
          </a:p>
          <a:p>
            <a:pPr algn="just"/>
            <a:endParaRPr lang="de-DE" sz="1200" dirty="0">
              <a:solidFill>
                <a:schemeClr val="tx1"/>
              </a:solidFill>
            </a:endParaRP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Heimsieg:	    94,04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Auswärtssieg:	    64,54 %</a:t>
            </a:r>
          </a:p>
          <a:p>
            <a:pPr algn="just"/>
            <a:r>
              <a:rPr lang="de-DE" sz="1200" dirty="0">
                <a:solidFill>
                  <a:schemeClr val="tx1"/>
                </a:solidFill>
              </a:rPr>
              <a:t>Genauigkeit Unentschieden:   /</a:t>
            </a:r>
          </a:p>
        </p:txBody>
      </p:sp>
    </p:spTree>
    <p:extLst>
      <p:ext uri="{BB962C8B-B14F-4D97-AF65-F5344CB8AC3E}">
        <p14:creationId xmlns:p14="http://schemas.microsoft.com/office/powerpoint/2010/main" val="1049637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820473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12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556607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78436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591447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4590698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112302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  <p:pic>
        <p:nvPicPr>
          <p:cNvPr id="7" name="Inhaltsplatzhalter 6" descr="Prozentuale Verteilung der Spalte RESULT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073" y="1242204"/>
            <a:ext cx="7891224" cy="47347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etriken, Messen der Prognoseergebnisse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etriken, Messen der Prognoseergebnisse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lleistung für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66" y="1176067"/>
            <a:ext cx="7435970" cy="49573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lleistung für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28624"/>
            <a:ext cx="7520075" cy="501338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1-Score Klasse 0 (Auswärtssieg)</a:t>
            </a:r>
          </a:p>
        </p:txBody>
      </p:sp>
      <p:pic>
        <p:nvPicPr>
          <p:cNvPr id="6" name="Grafik 5" descr="Modellleistung für Total_F1-Score_Class_0 _Auswärts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1" y="1164566"/>
            <a:ext cx="7453223" cy="49688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7866488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 Transfermarkt</a:t>
            </a:r>
          </a:p>
        </p:txBody>
      </p:sp>
    </p:spTree>
    <p:extLst>
      <p:ext uri="{BB962C8B-B14F-4D97-AF65-F5344CB8AC3E}">
        <p14:creationId xmlns:p14="http://schemas.microsoft.com/office/powerpoint/2010/main" val="29598751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r>
              <a:rPr lang="de-DE" dirty="0"/>
              <a:t> für Heimmannschaft</a:t>
            </a:r>
          </a:p>
        </p:txBody>
      </p:sp>
      <p:pic>
        <p:nvPicPr>
          <p:cNvPr id="6" name="Grafik 5" descr="Top 7 Teams für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618" y="1174630"/>
            <a:ext cx="7306574" cy="48710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r>
              <a:rPr lang="de-DE" dirty="0"/>
              <a:t> für Auswärtsmannschaft</a:t>
            </a:r>
          </a:p>
        </p:txBody>
      </p:sp>
      <p:pic>
        <p:nvPicPr>
          <p:cNvPr id="6" name="Grafik 5" descr="Top 7 Teams für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330" y="1140123"/>
            <a:ext cx="7360490" cy="490699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r F1-Score: Heimsieg</a:t>
            </a:r>
          </a:p>
        </p:txBody>
      </p:sp>
      <p:pic>
        <p:nvPicPr>
          <p:cNvPr id="6" name="Grafik 5" descr="Top 7 Teams für home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54" y="1122874"/>
            <a:ext cx="7565366" cy="50435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öchster F1-Score: Auswärtssieg</a:t>
            </a:r>
          </a:p>
        </p:txBody>
      </p:sp>
      <p:pic>
        <p:nvPicPr>
          <p:cNvPr id="6" name="Grafik 5" descr="Top 7 Teams für away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143001"/>
            <a:ext cx="7556740" cy="503782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1962493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60470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Gewichtung bei Zufall</a:t>
                </a:r>
              </a:p>
              <a:p>
                <a:pPr lvl="2"/>
                <a:r>
                  <a:rPr lang="de-DE" sz="1100" dirty="0"/>
                  <a:t>Heimsieg: 42.25%</a:t>
                </a:r>
              </a:p>
              <a:p>
                <a:pPr lvl="2"/>
                <a:r>
                  <a:rPr lang="de-DE" sz="1100" dirty="0"/>
                  <a:t>Unentschieden: 24.8%</a:t>
                </a:r>
              </a:p>
              <a:p>
                <a:pPr lvl="2"/>
                <a:r>
                  <a:rPr lang="de-DE" sz="1100" dirty="0"/>
                  <a:t>Auswärtssieg: 29.94%</a:t>
                </a:r>
                <a:endParaRPr lang="de-DE" dirty="0"/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,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 b="-134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50815C-DB38-8198-FB87-152B6844E2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6" descr="Prozentuale Verteilung der Spalte RESULT.jpeg">
            <a:extLst>
              <a:ext uri="{FF2B5EF4-FFF2-40B4-BE49-F238E27FC236}">
                <a16:creationId xmlns:a16="http://schemas.microsoft.com/office/drawing/2014/main" id="{D14840A8-4460-0F2B-B7DD-A68A4E13C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0063" y="2370965"/>
            <a:ext cx="1574576" cy="94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A5C051E-5423-1972-B635-54A092E88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83" y="1286419"/>
            <a:ext cx="3809860" cy="193820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9A3D5F6-EC1E-C7DC-000E-2AAC58C57C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883" y="3633378"/>
            <a:ext cx="3921827" cy="1915311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80D7435-A8BA-89B1-3045-572F65C8B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5021" y="1286419"/>
            <a:ext cx="3809860" cy="195795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1C6EB9C-9181-A22A-126F-CA250061F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5556" y="360653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23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6116E25-6A74-CADA-5E0F-C7F041396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3687580"/>
            <a:ext cx="3915795" cy="202512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DE7218-74B7-ED9A-CE8C-03A289479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56" y="137257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301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F53069-8B31-D076-8B91-6C91390C0C97}"/>
              </a:ext>
            </a:extLst>
          </p:cNvPr>
          <p:cNvSpPr txBox="1">
            <a:spLocks/>
          </p:cNvSpPr>
          <p:nvPr/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In allen Fällen wurde Nullhypothese abgelehnt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 Prognosemodell statistisch signifikant unterschiedlich zu Zufallsmodell</a:t>
            </a:r>
          </a:p>
          <a:p>
            <a:endParaRPr lang="de-DE" kern="0" dirty="0">
              <a:sym typeface="Wingdings" panose="05000000000000000000" pitchFamily="2" charset="2"/>
            </a:endParaRPr>
          </a:p>
          <a:p>
            <a:r>
              <a:rPr lang="de-DE" kern="0" dirty="0">
                <a:sym typeface="Wingdings" panose="05000000000000000000" pitchFamily="2" charset="2"/>
              </a:rPr>
              <a:t>Test trifft keine Aussage über Stärke und Richtung der Unterschiede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Anhaltspunkt: Vergleiche die Werte b und c miteinander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Da in den Prognosemodellen im Vergleich zum Zufallsmodell stets b&gt;c</a:t>
            </a:r>
          </a:p>
          <a:p>
            <a:pPr lvl="2"/>
            <a:r>
              <a:rPr lang="de-DE" kern="0" dirty="0">
                <a:sym typeface="Wingdings" panose="05000000000000000000" pitchFamily="2" charset="2"/>
              </a:rPr>
              <a:t> Prognosemodell statistisch signifikant besser als Zufallsmodell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108392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dirty="0"/>
              <a:t>Vielen Dank für die Aufmerksamkeit!</a:t>
            </a:r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612380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07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067</Words>
  <Application>Microsoft Office PowerPoint</Application>
  <PresentationFormat>Bildschirmpräsentation (4:3)</PresentationFormat>
  <Paragraphs>336</Paragraphs>
  <Slides>4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0</vt:i4>
      </vt:variant>
      <vt:variant>
        <vt:lpstr>Zielgruppenorientierte Präsentationen</vt:lpstr>
      </vt:variant>
      <vt:variant>
        <vt:i4>1</vt:i4>
      </vt:variant>
    </vt:vector>
  </HeadingPairs>
  <TitlesOfParts>
    <vt:vector size="48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</vt:lpstr>
      <vt:lpstr>Benchmark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Web Mining</vt:lpstr>
      <vt:lpstr>Modellsignifikanz</vt:lpstr>
      <vt:lpstr>Modellsignifikanz</vt:lpstr>
      <vt:lpstr>Modellsignifikanz</vt:lpstr>
      <vt:lpstr>Modellsignifikanz</vt:lpstr>
      <vt:lpstr>Modellsignifikanz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Luca Janas</cp:lastModifiedBy>
  <cp:revision>673</cp:revision>
  <cp:lastPrinted>2010-04-29T14:30:22Z</cp:lastPrinted>
  <dcterms:created xsi:type="dcterms:W3CDTF">2010-04-29T12:39:23Z</dcterms:created>
  <dcterms:modified xsi:type="dcterms:W3CDTF">2023-09-16T16:1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9-15T19:46:45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acb29243-9492-409f-8224-7b572471ecea</vt:lpwstr>
  </property>
  <property fmtid="{D5CDD505-2E9C-101B-9397-08002B2CF9AE}" pid="8" name="MSIP_Label_0359f705-2ba0-454b-9cfc-6ce5bcaac040_ContentBits">
    <vt:lpwstr>2</vt:lpwstr>
  </property>
</Properties>
</file>